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3119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47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369750205874279E-3"/>
          <c:y val="6.8149717514124297E-2"/>
          <c:w val="0.98572604995882518"/>
          <c:h val="0.863700564971751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dirty="0"/>
                      <a:t>{number_19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0-DC62-4AE2-BA19-9191F42B4D6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0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1-DC62-4AE2-BA19-9191F42B4D6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1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2-DC62-4AE2-BA19-9191F42B4D67}"/>
                </c:ext>
              </c:extLst>
            </c:dLbl>
            <c:dLbl>
              <c:idx val="3"/>
              <c:layout>
                <c:manualLayout>
                  <c:x val="0"/>
                  <c:y val="-3.5310734463276836E-4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3-DC62-4AE2-BA19-9191F42B4D6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3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4-DC62-4AE2-BA19-9191F42B4D67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4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5-DC62-4AE2-BA19-9191F42B4D67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5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6-DC62-4AE2-BA19-9191F42B4D67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srgbClr val="F2F2F2">
                            <a:lumMod val="10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6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7-DC62-4AE2-BA19-9191F42B4D67}"/>
                </c:ext>
              </c:extLst>
            </c:dLbl>
            <c:dLbl>
              <c:idx val="8"/>
              <c:layout>
                <c:manualLayout>
                  <c:x val="0"/>
                  <c:y val="-2.8248587570622505E-3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srgbClr val="F2F2F2">
                            <a:lumMod val="10000"/>
                          </a:srgbClr>
                        </a:solidFill>
                      </a:rPr>
                      <a:t>{number_27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8-DC62-4AE2-BA19-9191F42B4D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#,##0.0;"-"#,##0.0</c:formatCode>
                <c:ptCount val="9"/>
                <c:pt idx="0">
                  <c:v>8</c:v>
                </c:pt>
                <c:pt idx="1">
                  <c:v>8.2149999999999999</c:v>
                </c:pt>
                <c:pt idx="2">
                  <c:v>10.88</c:v>
                </c:pt>
                <c:pt idx="3">
                  <c:v>16.701000000000001</c:v>
                </c:pt>
                <c:pt idx="4">
                  <c:v>13.846000000000002</c:v>
                </c:pt>
                <c:pt idx="5">
                  <c:v>25.056000000000001</c:v>
                </c:pt>
                <c:pt idx="6">
                  <c:v>25.706999999999997</c:v>
                </c:pt>
                <c:pt idx="7">
                  <c:v>29.447466666666699</c:v>
                </c:pt>
                <c:pt idx="8">
                  <c:v>33.079838095238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C62-4AE2-BA19-9191F42B4D67}"/>
            </c:ext>
          </c:extLst>
        </c:ser>
        <c:ser>
          <c:idx val="1"/>
          <c:order val="1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dirty="0"/>
                      <a:t>{number_10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A-DC62-4AE2-BA19-9191F42B4D6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b="0" i="0" u="none" strike="noStrike" kern="1200" baseline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1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B-DC62-4AE2-BA19-9191F42B4D6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2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C-DC62-4AE2-BA19-9191F42B4D67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3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D-DC62-4AE2-BA19-9191F42B4D6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4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E-DC62-4AE2-BA19-9191F42B4D67}"/>
                </c:ext>
              </c:extLst>
            </c:dLbl>
            <c:dLbl>
              <c:idx val="5"/>
              <c:layout>
                <c:manualLayout>
                  <c:x val="0"/>
                  <c:y val="-3.5310734463276836E-4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5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F-DC62-4AE2-BA19-9191F42B4D67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6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10-DC62-4AE2-BA19-9191F42B4D67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7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11-DC62-4AE2-BA19-9191F42B4D67}"/>
                </c:ext>
              </c:extLst>
            </c:dLbl>
            <c:dLbl>
              <c:idx val="8"/>
              <c:layout>
                <c:manualLayout>
                  <c:x val="0"/>
                  <c:y val="-3.5310734463276836E-4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altLang="zh-CN" sz="1400" b="0" i="0" u="none" strike="noStrike" kern="1200" baseline="0" dirty="0">
                        <a:solidFill>
                          <a:prstClr val="white"/>
                        </a:solidFill>
                      </a:rPr>
                      <a:t>{number_18}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12-DC62-4AE2-BA19-9191F42B4D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#,##0.0;"-"#,##0.0</c:formatCode>
                <c:ptCount val="9"/>
                <c:pt idx="0">
                  <c:v>32</c:v>
                </c:pt>
                <c:pt idx="1">
                  <c:v>33.5</c:v>
                </c:pt>
                <c:pt idx="2">
                  <c:v>34.200000000000003</c:v>
                </c:pt>
                <c:pt idx="3">
                  <c:v>36.299999999999997</c:v>
                </c:pt>
                <c:pt idx="4">
                  <c:v>37.1</c:v>
                </c:pt>
                <c:pt idx="5">
                  <c:v>35.200000000000003</c:v>
                </c:pt>
                <c:pt idx="6">
                  <c:v>37.100000000000009</c:v>
                </c:pt>
                <c:pt idx="7">
                  <c:v>41.3</c:v>
                </c:pt>
                <c:pt idx="8">
                  <c:v>4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DC62-4AE2-BA19-9191F42B4D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989200239"/>
        <c:axId val="1"/>
      </c:barChart>
      <c:catAx>
        <c:axId val="9892002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"/>
          <c:min val="0"/>
        </c:scaling>
        <c:delete val="1"/>
        <c:axPos val="l"/>
        <c:numFmt formatCode="#,##0.0;&quot;-&quot;#,##0.0" sourceLinked="1"/>
        <c:majorTickMark val="out"/>
        <c:minorTickMark val="none"/>
        <c:tickLblPos val="nextTo"/>
        <c:crossAx val="9892002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  <c:userShapes r:id="rId2"/>
</c:chartSpac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10594</cdr:x>
      <cdr:y>0.08408</cdr:y>
    </cdr:to>
    <cdr:pic>
      <cdr:nvPicPr>
        <cdr:cNvPr id="2" name="chart">
          <a:extLst xmlns:a="http://schemas.openxmlformats.org/drawingml/2006/main">
            <a:ext uri="{FF2B5EF4-FFF2-40B4-BE49-F238E27FC236}">
              <a16:creationId xmlns:a16="http://schemas.microsoft.com/office/drawing/2014/main" id="{A6495994-AB07-49E3-91CA-70FBD50C6EBD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1225402" cy="377985"/>
        </a:xfrm>
        <a:prstGeom xmlns:a="http://schemas.openxmlformats.org/drawingml/2006/main" prst="rect">
          <a:avLst/>
        </a:prstGeom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563029-226C-442C-91BA-B8A9D488DB1F}" type="datetimeFigureOut">
              <a:rPr lang="zh-CN" altLang="en-US" smtClean="0"/>
              <a:t>2025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6B1D1E-982B-46C1-ACC8-8FFDF17189B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566870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2613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068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029807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703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7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2712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5573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712306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notesSlide" Target="../notesSlides/notesSlide1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chart" Target="../charts/chart1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slideLayout" Target="../slideLayouts/slideLayout5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image" Target="../media/image5.emf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A92511-01E3-3B4D-9CD3-912E972EC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30" imgW="360" imgH="360" progId="TCLayout.ActiveDocument.1">
                  <p:embed/>
                </p:oleObj>
              </mc:Choice>
              <mc:Fallback>
                <p:oleObj name="think-cell 幻灯片" r:id="rId30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92511-01E3-3B4D-9CD3-912E972EC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457DD58-D135-BDE3-D4CA-85EAE842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graphicFrame>
        <p:nvGraphicFramePr>
          <p:cNvPr id="37" name="Chart 3">
            <a:extLst>
              <a:ext uri="{FF2B5EF4-FFF2-40B4-BE49-F238E27FC236}">
                <a16:creationId xmlns:a16="http://schemas.microsoft.com/office/drawing/2014/main" id="{932DCA58-8DD2-4313-A04E-BF77888F6801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320675" y="1258888"/>
          <a:ext cx="11566525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0F36A7-C487-6886-60FD-44225A77332E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1036638" y="1579563"/>
            <a:ext cx="10134600" cy="16668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B04653B1-7CC7-16E5-8D89-C132891CFD0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064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E2B7F7DF-0EC6-9E2D-F77C-DF4FBE90012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073275" y="5507038"/>
            <a:ext cx="460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2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41EAFAB6-5B04-42A9-4D49-252CAA4F2B5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3385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3}</a:t>
            </a: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C6853431-4E80-F0CA-A60A-696DB061F1C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605338" y="550703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4}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FF2579BA-910E-68A4-02AF-366A41A9446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8737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5}</a:t>
            </a: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4D11FCAB-8310-9FC0-E121-E8E50A808E6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146925" y="5507038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6}</a:t>
            </a: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D2DE583F-8268-2428-521A-A98DA12DB6F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405813" y="5507038"/>
            <a:ext cx="41038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7}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Arial" pitchFamily="34" charset="0"/>
            </a:endParaRP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2647D264-6006-28EE-867F-EA5A5CB21AE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674225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8}</a:t>
            </a:r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5A1F1E7C-21EA-EFE5-C44E-BF1FD1D9DF5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93946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A9A9A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itchFamily="34" charset="0"/>
              </a:rPr>
              <a:t>{year_9}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14388" y="3382963"/>
            <a:ext cx="446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1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111376" y="3305175"/>
            <a:ext cx="385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2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370263" y="3151188"/>
            <a:ext cx="401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3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618038" y="2789238"/>
            <a:ext cx="438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4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884863" y="2882900"/>
            <a:ext cx="439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5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153275" y="2457450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6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420100" y="2341563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7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9699625" y="19780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8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961688" y="17160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umber_9}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546725" y="2262188"/>
            <a:ext cx="1114425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</a:t>
            </a:r>
            <a:r>
              <a:rPr lang="en-US" altLang="zh-CN" sz="1400" b="1" dirty="0">
                <a:solidFill>
                  <a:srgbClr val="F2F2F2">
                    <a:lumMod val="10000"/>
                  </a:srgbClr>
                </a:solidFill>
                <a:latin typeface="理想品牌字体 2022"/>
                <a:ea typeface="理想品牌字体 2022"/>
              </a:rPr>
              <a:t>CAGR</a:t>
            </a: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BF0E804-7D21-325E-53FB-1A7530437E1F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474663" y="164147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AF548BC-1008-60E0-E47C-5CC4270277CF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474663" y="1905000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354DFD-F296-85E6-0EE3-B091CAE79D4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76288" y="1636713"/>
            <a:ext cx="173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label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76288" y="1900238"/>
            <a:ext cx="2035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labe_2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14246734-1CCD-F170-5573-2566148AF19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37006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arrows, stacked, column, columns, bar, bars, think-cell, chart, charts, graph, graphs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A5A4CAC-3834-8DAD-4BE7-FA2B6E2BDDEC}"/>
              </a:ext>
            </a:extLst>
          </p:cNvPr>
          <p:cNvSpPr txBox="1">
            <a:spLocks/>
          </p:cNvSpPr>
          <p:nvPr/>
        </p:nvSpPr>
        <p:spPr>
          <a:xfrm>
            <a:off x="407987" y="886115"/>
            <a:ext cx="7266164" cy="215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text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02782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Z4SJ9ZvvTC.A9mEXhs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FE5VBvd04hFH89Jrfy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zv7W0BwjO8oIjyvHmg3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fVwMRjnMYKDEYZJAc_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gWrlpecb2bGjz1VueO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2u4tRO7oLMb85gyZqU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TLmFAxEuxMekdKDvq6a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ZwlQoXfzrQm1jMSPhz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2xh4u9m5SUQXqsGGuYy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61NyqBay.cNz_nClUr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3_c38_Ooyzmqb3X4vg7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cCBlxA96moYcreA7k.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ldaiJ3YtiPOdsHYq6i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NxJcx1T2tPo5oS5kED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H.L.ABCPM_qJ.pAMaG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oVEYbveUfxtGovsDnY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f9iCf62BesnuSCkBsk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dS4w8ihIw1BYHPUcgC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MG_enETVD1JxQCKQqT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OPIDmv8cnMrh5BKlQG0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VyyTJAg_PCDQEzWir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YcCf_plSK62QpxZivT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pnwI6xwV5L6p_U69WS.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nSndZMemy3UaXUWbTt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v2Tmh9luVN2PjPmyZv8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2</Words>
  <Application>Microsoft Office PowerPoint</Application>
  <PresentationFormat>宽屏</PresentationFormat>
  <Paragraphs>42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9" baseType="lpstr">
      <vt:lpstr>等线</vt:lpstr>
      <vt:lpstr>理想品牌字体 2022</vt:lpstr>
      <vt:lpstr>Arial</vt:lpstr>
      <vt:lpstr>Calibri</vt:lpstr>
      <vt:lpstr>Trebuchet MS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贾轶涵</cp:lastModifiedBy>
  <cp:revision>2</cp:revision>
  <dcterms:created xsi:type="dcterms:W3CDTF">2025-09-03T05:18:53Z</dcterms:created>
  <dcterms:modified xsi:type="dcterms:W3CDTF">2025-09-08T05:48:36Z</dcterms:modified>
</cp:coreProperties>
</file>